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32137350" cy="6858000"/>
  <p:notesSz cx="6858000" cy="9144000"/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5" d="100"/>
          <a:sy n="35" d="100"/>
        </p:scale>
        <p:origin x="49" y="17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A763A4-13DE-E699-4167-DC35D51A03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5401A3-0A53-2BDF-3325-815AC361911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FBFE78-740E-41AD-8B73-0BB8E16BA1CD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0143C0-13D7-BF1B-E708-C2D036FF38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5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D47287-E105-5412-3171-008ADE349D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C13A2B-F218-4632-B4E6-D7BBDE8F1EA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430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E0D46-5F38-4EC5-99BF-58F25FDB2EFB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800475" y="1143000"/>
            <a:ext cx="144589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PowerPoint-1067×5000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3CA62-7900-41DF-AB7A-9E54C7FF5C0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4497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CA62-7900-41DF-AB7A-9E54C7FF5C0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472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672" y="75600"/>
            <a:ext cx="31172454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24670" y="6605844"/>
            <a:ext cx="9805688" cy="126000"/>
          </a:xfrm>
        </p:spPr>
        <p:txBody>
          <a:bodyPr/>
          <a:lstStyle/>
          <a:p>
            <a:fld id="{776A9213-40D5-4FC4-B75B-053C7A3F0A1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1208109" y="6605844"/>
            <a:ext cx="9110809" cy="126000"/>
          </a:xfrm>
        </p:spPr>
        <p:txBody>
          <a:bodyPr/>
          <a:lstStyle/>
          <a:p>
            <a:r>
              <a:rPr lang="de-DE"/>
              <a:t>PowerPoint-1067×5000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0776087" y="6590168"/>
            <a:ext cx="921037" cy="151200"/>
          </a:xfrm>
        </p:spPr>
        <p:txBody>
          <a:bodyPr/>
          <a:lstStyle/>
          <a:p>
            <a:fld id="{F38A4B7B-4FC5-4161-9595-A825FB4ED8A5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24670" y="914400"/>
            <a:ext cx="26241285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3pPr>
            <a:lvl4pPr>
              <a:spcBef>
                <a:spcPts val="288"/>
              </a:spcBef>
              <a:defRPr lang="en-US" smtClean="0">
                <a:solidFill>
                  <a:schemeClr val="tx1"/>
                </a:solidFill>
              </a:defRPr>
            </a:lvl4pPr>
            <a:lvl5pPr>
              <a:spcBef>
                <a:spcPts val="288"/>
              </a:spcBef>
              <a:spcAft>
                <a:spcPts val="0"/>
              </a:spcAft>
              <a:defRPr lang="de-DE">
                <a:solidFill>
                  <a:schemeClr val="tx1"/>
                </a:solidFill>
              </a:defRPr>
            </a:lvl5pPr>
            <a:lvl6pPr>
              <a:spcBef>
                <a:spcPts val="288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  <a:lvl7pPr>
              <a:spcBef>
                <a:spcPts val="288"/>
              </a:spcBef>
              <a:defRPr>
                <a:solidFill>
                  <a:schemeClr val="tx1"/>
                </a:solidFill>
              </a:defRPr>
            </a:lvl7pPr>
            <a:lvl8pPr>
              <a:spcBef>
                <a:spcPts val="288"/>
              </a:spcBef>
              <a:defRPr>
                <a:solidFill>
                  <a:schemeClr val="tx1"/>
                </a:solidFill>
              </a:defRPr>
            </a:lvl8pPr>
            <a:lvl9pPr>
              <a:spcBef>
                <a:spcPts val="288"/>
              </a:spcBef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</p:spTree>
    <p:extLst>
      <p:ext uri="{BB962C8B-B14F-4D97-AF65-F5344CB8AC3E}">
        <p14:creationId xmlns:p14="http://schemas.microsoft.com/office/powerpoint/2010/main" val="193998691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DEF8D-C3BE-66E3-F01C-BF9BBED63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C3A24E-1FBE-5024-55DA-624D72405A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A9213-40D5-4FC4-B75B-053C7A3F0A1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F01E01-FF60-9632-1CFA-E7F25DAEE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-1067×5000.ppt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09EC65-80D7-4E11-4222-906D3667F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A4B7B-4FC5-4161-9595-A825FB4ED8A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090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524670" y="6605844"/>
            <a:ext cx="9805688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776A9213-40D5-4FC4-B75B-053C7A3F0A1A}" type="datetimeFigureOut">
              <a:rPr lang="de-DE" smtClean="0"/>
              <a:t>01.09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21208109" y="6605844"/>
            <a:ext cx="9110809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PowerPoint-1067×5000.pptx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4672" y="75600"/>
            <a:ext cx="31172454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524670" y="914400"/>
            <a:ext cx="26241285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/>
              <a:t>Text bearbeiten 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 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 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ente Ebene </a:t>
            </a:r>
          </a:p>
          <a:p>
            <a:pPr lvl="7"/>
            <a:r>
              <a:rPr lang="de-DE" dirty="0"/>
              <a:t>Achte Ebene </a:t>
            </a:r>
          </a:p>
          <a:p>
            <a:pPr lvl="8"/>
            <a:r>
              <a:rPr lang="de-DE" dirty="0"/>
              <a:t>Neunte Eben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30776087" y="6590168"/>
            <a:ext cx="921037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38A4B7B-4FC5-4161-9595-A825FB4ED8A5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OT_FootnoteSource" hidden="1"/>
          <p:cNvSpPr txBox="1"/>
          <p:nvPr>
            <p:custDataLst>
              <p:tags r:id="rId9"/>
            </p:custDataLst>
          </p:nvPr>
        </p:nvSpPr>
        <p:spPr>
          <a:xfrm>
            <a:off x="216908" y="6165304"/>
            <a:ext cx="15850549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539750" marR="0" lvl="0" indent="-539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46088" algn="r"/>
                <a:tab pos="539750" algn="l"/>
              </a:tabLst>
              <a:defRPr/>
            </a:pPr>
            <a:r>
              <a:rPr lang="de-DE" sz="800" dirty="0">
                <a:latin typeface="+mn-lt"/>
                <a:cs typeface="Calibri" pitchFamily="34" charset="0"/>
              </a:rPr>
              <a:t>	Source:	SourceFootnote</a:t>
            </a:r>
          </a:p>
        </p:txBody>
      </p:sp>
    </p:spTree>
    <p:extLst>
      <p:ext uri="{BB962C8B-B14F-4D97-AF65-F5344CB8AC3E}">
        <p14:creationId xmlns:p14="http://schemas.microsoft.com/office/powerpoint/2010/main" val="360745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wipe dir="r"/>
  </p:transition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25DA3-F306-03E6-D020-BB254A130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559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s4Cd7E2m1wgT9C73Cg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866F356B-8A12-4C5A-816D-E62F5C0FE7FD}" vid="{A5505CFF-3F7C-4777-BD21-919D7ABFA2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ptos</vt:lpstr>
      <vt:lpstr>Arial</vt:lpstr>
      <vt:lpstr>Blan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ipchart-Service.de</dc:creator>
  <cp:lastModifiedBy>Stefan Berger</cp:lastModifiedBy>
  <cp:revision>2</cp:revision>
  <dcterms:created xsi:type="dcterms:W3CDTF">2025-08-15T17:06:26Z</dcterms:created>
  <dcterms:modified xsi:type="dcterms:W3CDTF">2025-09-01T07:47:06Z</dcterms:modified>
</cp:coreProperties>
</file>